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13"/>
  </p:notesMasterIdLst>
  <p:sldIdLst>
    <p:sldId id="867" r:id="rId2"/>
    <p:sldId id="895" r:id="rId3"/>
    <p:sldId id="897" r:id="rId4"/>
    <p:sldId id="896" r:id="rId5"/>
    <p:sldId id="898" r:id="rId6"/>
    <p:sldId id="899" r:id="rId7"/>
    <p:sldId id="900" r:id="rId8"/>
    <p:sldId id="901" r:id="rId9"/>
    <p:sldId id="902" r:id="rId10"/>
    <p:sldId id="903" r:id="rId11"/>
    <p:sldId id="904" r:id="rId12"/>
  </p:sldIdLst>
  <p:sldSz cx="12192000" cy="6858000"/>
  <p:notesSz cx="6805613" cy="99441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94790"/>
    <a:srgbClr val="0073B8"/>
    <a:srgbClr val="6D86C4"/>
    <a:srgbClr val="FF4747"/>
    <a:srgbClr val="2D2B8D"/>
    <a:srgbClr val="008F96"/>
    <a:srgbClr val="3D9FBD"/>
    <a:srgbClr val="CBD6F1"/>
    <a:srgbClr val="5A4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98" autoAdjust="0"/>
    <p:restoredTop sz="96408" autoAdjust="0"/>
  </p:normalViewPr>
  <p:slideViewPr>
    <p:cSldViewPr snapToGrid="0">
      <p:cViewPr>
        <p:scale>
          <a:sx n="96" d="100"/>
          <a:sy n="96" d="100"/>
        </p:scale>
        <p:origin x="-230" y="230"/>
      </p:cViewPr>
      <p:guideLst>
        <p:guide orient="horz" pos="3203"/>
        <p:guide orient="horz" pos="3748"/>
        <p:guide orient="horz" pos="1525"/>
        <p:guide orient="horz" pos="1003"/>
        <p:guide orient="horz" pos="550"/>
        <p:guide orient="horz" pos="187"/>
        <p:guide pos="279"/>
        <p:guide pos="3840"/>
        <p:guide pos="7355"/>
        <p:guide pos="1980"/>
        <p:guide pos="2593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2701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1470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7731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35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9409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14522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5467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7064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706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0827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51525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7.04.2021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5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6855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70070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5774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22065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915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628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1259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3953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024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9621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3690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660</TotalTime>
  <Words>0</Words>
  <Application>Microsoft Office PowerPoint</Application>
  <PresentationFormat>Произвольный</PresentationFormat>
  <Paragraphs>0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Marina</cp:lastModifiedBy>
  <cp:revision>1095</cp:revision>
  <cp:lastPrinted>2020-01-23T09:32:00Z</cp:lastPrinted>
  <dcterms:created xsi:type="dcterms:W3CDTF">2018-07-24T05:59:49Z</dcterms:created>
  <dcterms:modified xsi:type="dcterms:W3CDTF">2021-04-07T12:18:19Z</dcterms:modified>
</cp:coreProperties>
</file>